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1"/>
  </p:sldMasterIdLst>
  <p:notesMasterIdLst>
    <p:notesMasterId r:id="rId11"/>
  </p:notesMasterIdLst>
  <p:handoutMasterIdLst>
    <p:handoutMasterId r:id="rId12"/>
  </p:handoutMasterIdLst>
  <p:sldIdLst>
    <p:sldId id="256" r:id="rId2"/>
    <p:sldId id="307" r:id="rId3"/>
    <p:sldId id="308" r:id="rId4"/>
    <p:sldId id="309" r:id="rId5"/>
    <p:sldId id="310" r:id="rId6"/>
    <p:sldId id="311" r:id="rId7"/>
    <p:sldId id="312" r:id="rId8"/>
    <p:sldId id="313" r:id="rId9"/>
    <p:sldId id="314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B50"/>
    <a:srgbClr val="00642D"/>
    <a:srgbClr val="0097CC"/>
    <a:srgbClr val="75E598"/>
    <a:srgbClr val="005D7E"/>
    <a:srgbClr val="61D6FF"/>
    <a:srgbClr val="B7ECFF"/>
    <a:srgbClr val="355C8B"/>
    <a:srgbClr val="5383BD"/>
    <a:srgbClr val="BC31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5968" autoAdjust="0"/>
  </p:normalViewPr>
  <p:slideViewPr>
    <p:cSldViewPr>
      <p:cViewPr>
        <p:scale>
          <a:sx n="70" d="100"/>
          <a:sy n="70" d="100"/>
        </p:scale>
        <p:origin x="-138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592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49E904-A981-4F15-99B4-730F7B1691FD}" type="datetimeFigureOut">
              <a:rPr lang="en-US" smtClean="0"/>
              <a:t>1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ED532C-B5A9-49EB-A2AC-F8C0415728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474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856267-28F5-4912-9585-6DA6CC64DD40}" type="datetimeFigureOut">
              <a:rPr lang="en-US" smtClean="0"/>
              <a:t>12/1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A2B0E-C7A8-493E-801A-9BC86DA5FF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51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93230"/>
              </p:ext>
            </p:ext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4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F6643-C269-4D35-A37B-DF5D56C59DBD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37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9D55C-FC69-42A5-BF36-38AAF745A9CE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34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14313"/>
            <a:ext cx="8229600" cy="428625"/>
          </a:xfrm>
        </p:spPr>
        <p:txBody>
          <a:bodyPr>
            <a:noAutofit/>
          </a:bodyPr>
          <a:lstStyle>
            <a:lvl1pPr algn="l">
              <a:defRPr sz="2600" b="0">
                <a:solidFill>
                  <a:schemeClr val="accent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785812"/>
            <a:ext cx="8229600" cy="5500688"/>
          </a:xfrm>
        </p:spPr>
        <p:txBody>
          <a:bodyPr/>
          <a:lstStyle>
            <a:lvl1pPr>
              <a:defRPr sz="2400" b="0" i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>
              <a:buFont typeface="Courier New" pitchFamily="49" charset="0"/>
              <a:buChar char="o"/>
              <a:defRPr sz="2200" b="0" i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buFont typeface="Wingdings" pitchFamily="2" charset="2"/>
              <a:buChar char="§"/>
              <a:defRPr sz="2000" b="0" i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1000" y="6356352"/>
            <a:ext cx="2133600" cy="365124"/>
          </a:xfrm>
        </p:spPr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0" y="6356352"/>
            <a:ext cx="2895600" cy="365124"/>
          </a:xfrm>
        </p:spPr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77000" y="6356352"/>
            <a:ext cx="2133600" cy="365124"/>
          </a:xfrm>
        </p:spPr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136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85800" y="4572000"/>
            <a:ext cx="7772400" cy="1432560"/>
          </a:xfrm>
          <a:solidFill>
            <a:srgbClr val="355C8B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3200" b="1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TRANSMEMBRANE PROTEI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B234D0-7261-4382-9E76-AC3CB1F03037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8201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480975"/>
              </p:ext>
            </p:ext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4312"/>
            <a:ext cx="8229600" cy="490538"/>
          </a:xfrm>
        </p:spPr>
        <p:txBody>
          <a:bodyPr>
            <a:normAutofit/>
          </a:bodyPr>
          <a:lstStyle>
            <a:lvl1pPr algn="l">
              <a:defRPr sz="2800" b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28687"/>
            <a:ext cx="4038600" cy="5197478"/>
          </a:xfrm>
        </p:spPr>
        <p:txBody>
          <a:bodyPr/>
          <a:lstStyle>
            <a:lvl1pPr>
              <a:defRPr sz="2600"/>
            </a:lvl1pPr>
            <a:lvl2pPr marL="742950" indent="-285750">
              <a:buFont typeface="Courier New" pitchFamily="49" charset="0"/>
              <a:buChar char="o"/>
              <a:defRPr sz="2400"/>
            </a:lvl2pPr>
            <a:lvl3pPr marL="1143000" indent="-228600">
              <a:buFont typeface="Wingdings" pitchFamily="2" charset="2"/>
              <a:buChar char="§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28687"/>
            <a:ext cx="4038600" cy="5197478"/>
          </a:xfrm>
        </p:spPr>
        <p:txBody>
          <a:bodyPr/>
          <a:lstStyle>
            <a:lvl1pPr>
              <a:defRPr sz="2600"/>
            </a:lvl1pPr>
            <a:lvl2pPr marL="742950" indent="-285750">
              <a:buFont typeface="Courier New" pitchFamily="49" charset="0"/>
              <a:buChar char="o"/>
              <a:defRPr sz="2400"/>
            </a:lvl2pPr>
            <a:lvl3pPr marL="1143000" indent="-228600">
              <a:buFont typeface="Wingdings" pitchFamily="2" charset="2"/>
              <a:buChar char="§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D2CF2-7928-4157-A61F-262C58479CED}" type="datetime1">
              <a:rPr lang="en-US" smtClean="0"/>
              <a:t>12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315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6BC6-DD21-4B85-8E52-0AA962DFA7DC}" type="datetime1">
              <a:rPr lang="en-US" smtClean="0"/>
              <a:t>1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33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88839-8761-4673-BB7F-CE4B64218BB1}" type="datetime1">
              <a:rPr lang="en-US" smtClean="0"/>
              <a:t>1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794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A9EBA-0A34-4B6C-A3E8-A75F172169D9}" type="datetime1">
              <a:rPr lang="en-US" smtClean="0"/>
              <a:t>12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243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0E6D0-A2DF-432F-B991-5FF5CAF178EA}" type="datetime1">
              <a:rPr lang="en-US" smtClean="0"/>
              <a:t>12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67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B714F-99EC-4E3B-844F-DDD48ED3A6E5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482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9906CE-C38A-448A-B6BA-8376ED1C539A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http://www.ncbi.nlm.nih.gov/pmc/articles/PMC1920242/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EDF8A7-774D-4C23-88CB-E3458B5BD82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56760272"/>
              </p:ext>
            </p:ext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481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2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129115"/>
              </p:ext>
            </p:ext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1600200"/>
            <a:ext cx="7772400" cy="1470024"/>
          </a:xfrm>
        </p:spPr>
        <p:txBody>
          <a:bodyPr>
            <a:noAutofit/>
          </a:bodyPr>
          <a:lstStyle/>
          <a:p>
            <a:pPr algn="ctr"/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4400" dirty="0" smtClean="0">
                <a:solidFill>
                  <a:schemeClr val="accent1">
                    <a:lumMod val="50000"/>
                  </a:schemeClr>
                </a:solidFill>
              </a:rPr>
              <a:t>SNAP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2800" dirty="0">
                <a:solidFill>
                  <a:schemeClr val="bg1">
                    <a:lumMod val="50000"/>
                  </a:schemeClr>
                </a:solidFill>
              </a:rPr>
            </a:b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3F72E-585C-4C66-8EF8-51D2AA4A1A79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43200" y="6356352"/>
            <a:ext cx="3886200" cy="365124"/>
          </a:xfrm>
        </p:spPr>
        <p:txBody>
          <a:bodyPr/>
          <a:lstStyle/>
          <a:p>
            <a:r>
              <a:rPr lang="en-US" dirty="0"/>
              <a:t>http://www.ncbi.nlm.nih.gov/pmc/articles/PMC1920242/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1447800" y="3048000"/>
            <a:ext cx="6400800" cy="175260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redict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ffect of non-synonymous polymorphisms on function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0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179696" y="615000"/>
            <a:ext cx="39624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3B50"/>
                </a:solidFill>
              </a:rPr>
              <a:t>Feature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Bio-chemical properti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Sequence infor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Transition frequenci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PSI-BLAST profil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SWISS-PROT annot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/>
              <a:t>…</a:t>
            </a:r>
            <a:endParaRPr lang="en-US" sz="2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162698"/>
            <a:ext cx="8229600" cy="428625"/>
          </a:xfrm>
        </p:spPr>
        <p:txBody>
          <a:bodyPr/>
          <a:lstStyle/>
          <a:p>
            <a:r>
              <a:rPr lang="en-US" dirty="0" smtClean="0"/>
              <a:t>What is SNAP?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2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0F48C-2859-4F01-9205-1164D5AABE80}" type="datetime1">
              <a:rPr lang="en-US" smtClean="0"/>
              <a:t>12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 rot="5400000">
            <a:off x="4918298" y="-113725"/>
            <a:ext cx="3184356" cy="4286494"/>
            <a:chOff x="2354067" y="546676"/>
            <a:chExt cx="4160576" cy="5341944"/>
          </a:xfrm>
        </p:grpSpPr>
        <p:sp>
          <p:nvSpPr>
            <p:cNvPr id="9" name="Oval 8"/>
            <p:cNvSpPr/>
            <p:nvPr/>
          </p:nvSpPr>
          <p:spPr>
            <a:xfrm>
              <a:off x="2933243" y="3488995"/>
              <a:ext cx="333375" cy="3333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2933242" y="4004025"/>
              <a:ext cx="333375" cy="3333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2933243" y="4540599"/>
              <a:ext cx="333375" cy="3333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3771443" y="4207224"/>
              <a:ext cx="333375" cy="3333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3771442" y="4722254"/>
              <a:ext cx="333375" cy="3333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3771443" y="5258828"/>
              <a:ext cx="333375" cy="3333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>
              <a:off x="3771443" y="3155620"/>
              <a:ext cx="333375" cy="3333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/>
            <p:cNvSpPr/>
            <p:nvPr/>
          </p:nvSpPr>
          <p:spPr>
            <a:xfrm>
              <a:off x="3771442" y="3670650"/>
              <a:ext cx="333375" cy="3333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>
              <a:off x="3771443" y="4207224"/>
              <a:ext cx="333375" cy="33337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4762043" y="4170712"/>
              <a:ext cx="333375" cy="33337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" name="Straight Arrow Connector 18"/>
            <p:cNvCxnSpPr>
              <a:endCxn id="15" idx="2"/>
            </p:cNvCxnSpPr>
            <p:nvPr/>
          </p:nvCxnSpPr>
          <p:spPr>
            <a:xfrm flipV="1">
              <a:off x="3266618" y="3322308"/>
              <a:ext cx="504825" cy="333374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>
              <a:stCxn id="9" idx="6"/>
              <a:endCxn id="16" idx="2"/>
            </p:cNvCxnSpPr>
            <p:nvPr/>
          </p:nvCxnSpPr>
          <p:spPr>
            <a:xfrm>
              <a:off x="3266618" y="3655683"/>
              <a:ext cx="504824" cy="18165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9" idx="6"/>
              <a:endCxn id="17" idx="2"/>
            </p:cNvCxnSpPr>
            <p:nvPr/>
          </p:nvCxnSpPr>
          <p:spPr>
            <a:xfrm>
              <a:off x="3266618" y="3655683"/>
              <a:ext cx="504825" cy="71822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9" idx="6"/>
              <a:endCxn id="13" idx="2"/>
            </p:cNvCxnSpPr>
            <p:nvPr/>
          </p:nvCxnSpPr>
          <p:spPr>
            <a:xfrm>
              <a:off x="3266618" y="3655683"/>
              <a:ext cx="504824" cy="123325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stCxn id="9" idx="6"/>
              <a:endCxn id="14" idx="2"/>
            </p:cNvCxnSpPr>
            <p:nvPr/>
          </p:nvCxnSpPr>
          <p:spPr>
            <a:xfrm>
              <a:off x="3266618" y="3655683"/>
              <a:ext cx="504825" cy="1769833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stCxn id="10" idx="6"/>
              <a:endCxn id="15" idx="2"/>
            </p:cNvCxnSpPr>
            <p:nvPr/>
          </p:nvCxnSpPr>
          <p:spPr>
            <a:xfrm flipV="1">
              <a:off x="3266617" y="3322308"/>
              <a:ext cx="504826" cy="84840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10" idx="6"/>
              <a:endCxn id="16" idx="2"/>
            </p:cNvCxnSpPr>
            <p:nvPr/>
          </p:nvCxnSpPr>
          <p:spPr>
            <a:xfrm flipV="1">
              <a:off x="3266617" y="3837338"/>
              <a:ext cx="504825" cy="33337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stCxn id="10" idx="6"/>
              <a:endCxn id="17" idx="2"/>
            </p:cNvCxnSpPr>
            <p:nvPr/>
          </p:nvCxnSpPr>
          <p:spPr>
            <a:xfrm>
              <a:off x="3266617" y="4170713"/>
              <a:ext cx="504826" cy="20319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stCxn id="10" idx="6"/>
              <a:endCxn id="13" idx="2"/>
            </p:cNvCxnSpPr>
            <p:nvPr/>
          </p:nvCxnSpPr>
          <p:spPr>
            <a:xfrm>
              <a:off x="3266617" y="4170713"/>
              <a:ext cx="504825" cy="71822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stCxn id="10" idx="6"/>
              <a:endCxn id="14" idx="2"/>
            </p:cNvCxnSpPr>
            <p:nvPr/>
          </p:nvCxnSpPr>
          <p:spPr>
            <a:xfrm>
              <a:off x="3266617" y="4170713"/>
              <a:ext cx="504826" cy="1254803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>
              <a:stCxn id="11" idx="6"/>
              <a:endCxn id="15" idx="2"/>
            </p:cNvCxnSpPr>
            <p:nvPr/>
          </p:nvCxnSpPr>
          <p:spPr>
            <a:xfrm flipV="1">
              <a:off x="3266618" y="3322308"/>
              <a:ext cx="504825" cy="138497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11" idx="6"/>
              <a:endCxn id="16" idx="2"/>
            </p:cNvCxnSpPr>
            <p:nvPr/>
          </p:nvCxnSpPr>
          <p:spPr>
            <a:xfrm flipV="1">
              <a:off x="3266618" y="3837338"/>
              <a:ext cx="504824" cy="86994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endCxn id="17" idx="2"/>
            </p:cNvCxnSpPr>
            <p:nvPr/>
          </p:nvCxnSpPr>
          <p:spPr>
            <a:xfrm flipV="1">
              <a:off x="3266618" y="4373912"/>
              <a:ext cx="504825" cy="33337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11" idx="6"/>
              <a:endCxn id="13" idx="2"/>
            </p:cNvCxnSpPr>
            <p:nvPr/>
          </p:nvCxnSpPr>
          <p:spPr>
            <a:xfrm>
              <a:off x="3266618" y="4707287"/>
              <a:ext cx="504824" cy="18165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11" idx="6"/>
              <a:endCxn id="14" idx="2"/>
            </p:cNvCxnSpPr>
            <p:nvPr/>
          </p:nvCxnSpPr>
          <p:spPr>
            <a:xfrm>
              <a:off x="3266618" y="4707287"/>
              <a:ext cx="504825" cy="71822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>
              <a:stCxn id="15" idx="6"/>
              <a:endCxn id="18" idx="2"/>
            </p:cNvCxnSpPr>
            <p:nvPr/>
          </p:nvCxnSpPr>
          <p:spPr>
            <a:xfrm>
              <a:off x="4104818" y="3322308"/>
              <a:ext cx="657225" cy="101509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>
              <a:stCxn id="16" idx="6"/>
              <a:endCxn id="18" idx="2"/>
            </p:cNvCxnSpPr>
            <p:nvPr/>
          </p:nvCxnSpPr>
          <p:spPr>
            <a:xfrm>
              <a:off x="4104817" y="3837338"/>
              <a:ext cx="657226" cy="50006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17" idx="6"/>
              <a:endCxn id="18" idx="2"/>
            </p:cNvCxnSpPr>
            <p:nvPr/>
          </p:nvCxnSpPr>
          <p:spPr>
            <a:xfrm flipV="1">
              <a:off x="4104818" y="4337400"/>
              <a:ext cx="657225" cy="3651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>
              <a:stCxn id="13" idx="6"/>
              <a:endCxn id="18" idx="2"/>
            </p:cNvCxnSpPr>
            <p:nvPr/>
          </p:nvCxnSpPr>
          <p:spPr>
            <a:xfrm flipV="1">
              <a:off x="4104817" y="4337400"/>
              <a:ext cx="657226" cy="55154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>
              <a:stCxn id="14" idx="6"/>
              <a:endCxn id="18" idx="2"/>
            </p:cNvCxnSpPr>
            <p:nvPr/>
          </p:nvCxnSpPr>
          <p:spPr>
            <a:xfrm flipV="1">
              <a:off x="4104818" y="4337400"/>
              <a:ext cx="657225" cy="1088116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 rot="16200000">
              <a:off x="2727539" y="1515988"/>
              <a:ext cx="2421182" cy="482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H</a:t>
              </a:r>
              <a:r>
                <a:rPr lang="en-US" dirty="0" smtClean="0"/>
                <a:t>idden Layer</a:t>
              </a:r>
              <a:endParaRPr lang="en-US" dirty="0"/>
            </a:p>
          </p:txBody>
        </p:sp>
        <p:sp>
          <p:nvSpPr>
            <p:cNvPr id="40" name="TextBox 39"/>
            <p:cNvSpPr txBox="1"/>
            <p:nvPr/>
          </p:nvSpPr>
          <p:spPr>
            <a:xfrm rot="16200000">
              <a:off x="601521" y="3653516"/>
              <a:ext cx="3987650" cy="482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Input (</a:t>
              </a:r>
              <a:r>
                <a:rPr lang="en-US" b="1" dirty="0" smtClean="0">
                  <a:solidFill>
                    <a:srgbClr val="003B50"/>
                  </a:solidFill>
                </a:rPr>
                <a:t>features</a:t>
              </a:r>
              <a:r>
                <a:rPr lang="en-US" dirty="0" smtClean="0"/>
                <a:t>) ~ 10</a:t>
              </a:r>
            </a:p>
          </p:txBody>
        </p:sp>
        <p:cxnSp>
          <p:nvCxnSpPr>
            <p:cNvPr id="41" name="Straight Arrow Connector 40"/>
            <p:cNvCxnSpPr>
              <a:stCxn id="18" idx="6"/>
            </p:cNvCxnSpPr>
            <p:nvPr/>
          </p:nvCxnSpPr>
          <p:spPr>
            <a:xfrm flipV="1">
              <a:off x="5095418" y="4337399"/>
              <a:ext cx="1419225" cy="1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/>
            <p:cNvSpPr/>
            <p:nvPr/>
          </p:nvSpPr>
          <p:spPr>
            <a:xfrm>
              <a:off x="4747755" y="3670649"/>
              <a:ext cx="333375" cy="33337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4773944" y="4622026"/>
              <a:ext cx="333375" cy="33337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Arrow Connector 43"/>
            <p:cNvCxnSpPr>
              <a:stCxn id="13" idx="6"/>
              <a:endCxn id="43" idx="2"/>
            </p:cNvCxnSpPr>
            <p:nvPr/>
          </p:nvCxnSpPr>
          <p:spPr>
            <a:xfrm flipV="1">
              <a:off x="4104817" y="4788714"/>
              <a:ext cx="669127" cy="100228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>
              <a:stCxn id="14" idx="6"/>
            </p:cNvCxnSpPr>
            <p:nvPr/>
          </p:nvCxnSpPr>
          <p:spPr>
            <a:xfrm flipV="1">
              <a:off x="4104818" y="4798114"/>
              <a:ext cx="657225" cy="62740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>
              <a:stCxn id="14" idx="6"/>
              <a:endCxn id="42" idx="2"/>
            </p:cNvCxnSpPr>
            <p:nvPr/>
          </p:nvCxnSpPr>
          <p:spPr>
            <a:xfrm flipV="1">
              <a:off x="4104818" y="3837337"/>
              <a:ext cx="642937" cy="158817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>
              <a:stCxn id="13" idx="6"/>
              <a:endCxn id="42" idx="2"/>
            </p:cNvCxnSpPr>
            <p:nvPr/>
          </p:nvCxnSpPr>
          <p:spPr>
            <a:xfrm flipV="1">
              <a:off x="4104817" y="3837337"/>
              <a:ext cx="642938" cy="105160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>
              <a:stCxn id="17" idx="6"/>
              <a:endCxn id="43" idx="2"/>
            </p:cNvCxnSpPr>
            <p:nvPr/>
          </p:nvCxnSpPr>
          <p:spPr>
            <a:xfrm>
              <a:off x="4104818" y="4373912"/>
              <a:ext cx="669126" cy="414802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/>
            <p:cNvCxnSpPr>
              <a:stCxn id="17" idx="6"/>
              <a:endCxn id="42" idx="2"/>
            </p:cNvCxnSpPr>
            <p:nvPr/>
          </p:nvCxnSpPr>
          <p:spPr>
            <a:xfrm flipV="1">
              <a:off x="4104818" y="3837337"/>
              <a:ext cx="642937" cy="536575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stCxn id="16" idx="6"/>
              <a:endCxn id="42" idx="2"/>
            </p:cNvCxnSpPr>
            <p:nvPr/>
          </p:nvCxnSpPr>
          <p:spPr>
            <a:xfrm flipV="1">
              <a:off x="4104817" y="3837337"/>
              <a:ext cx="642938" cy="1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>
              <a:stCxn id="16" idx="6"/>
              <a:endCxn id="43" idx="2"/>
            </p:cNvCxnSpPr>
            <p:nvPr/>
          </p:nvCxnSpPr>
          <p:spPr>
            <a:xfrm>
              <a:off x="4104817" y="3837338"/>
              <a:ext cx="669127" cy="951376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15" idx="6"/>
              <a:endCxn id="42" idx="2"/>
            </p:cNvCxnSpPr>
            <p:nvPr/>
          </p:nvCxnSpPr>
          <p:spPr>
            <a:xfrm>
              <a:off x="4104818" y="3322308"/>
              <a:ext cx="642937" cy="515029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15" idx="6"/>
              <a:endCxn id="43" idx="2"/>
            </p:cNvCxnSpPr>
            <p:nvPr/>
          </p:nvCxnSpPr>
          <p:spPr>
            <a:xfrm>
              <a:off x="4104818" y="3322308"/>
              <a:ext cx="669126" cy="1466406"/>
            </a:xfrm>
            <a:prstGeom prst="straightConnector1">
              <a:avLst/>
            </a:prstGeom>
            <a:ln>
              <a:solidFill>
                <a:schemeClr val="bg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Box 53"/>
          <p:cNvSpPr txBox="1"/>
          <p:nvPr/>
        </p:nvSpPr>
        <p:spPr>
          <a:xfrm>
            <a:off x="5725242" y="2535308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tput</a:t>
            </a:r>
            <a:endParaRPr lang="en-US" dirty="0"/>
          </a:p>
        </p:txBody>
      </p:sp>
      <p:grpSp>
        <p:nvGrpSpPr>
          <p:cNvPr id="59" name="Group 58"/>
          <p:cNvGrpSpPr/>
          <p:nvPr/>
        </p:nvGrpSpPr>
        <p:grpSpPr>
          <a:xfrm>
            <a:off x="6256252" y="2535308"/>
            <a:ext cx="2895600" cy="1086392"/>
            <a:chOff x="3733801" y="2013032"/>
            <a:chExt cx="2895600" cy="1086392"/>
          </a:xfrm>
        </p:grpSpPr>
        <p:sp>
          <p:nvSpPr>
            <p:cNvPr id="56" name="Rectangle 55"/>
            <p:cNvSpPr/>
            <p:nvPr/>
          </p:nvSpPr>
          <p:spPr>
            <a:xfrm>
              <a:off x="4015854" y="2013032"/>
              <a:ext cx="2057400" cy="380601"/>
            </a:xfrm>
            <a:prstGeom prst="rect">
              <a:avLst/>
            </a:prstGeom>
            <a:gradFill flip="none" rotWithShape="1">
              <a:gsLst>
                <a:gs pos="0">
                  <a:srgbClr val="00642D">
                    <a:lumMod val="96000"/>
                    <a:lumOff val="4000"/>
                  </a:srgbClr>
                </a:gs>
                <a:gs pos="50000">
                  <a:srgbClr val="002060"/>
                </a:gs>
                <a:gs pos="100000">
                  <a:srgbClr val="FF000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733801" y="2453093"/>
              <a:ext cx="28956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-100               0	    100</a:t>
              </a:r>
            </a:p>
            <a:p>
              <a:r>
                <a:rPr lang="en-US" dirty="0" smtClean="0"/>
                <a:t>Neutral		   Effect</a:t>
              </a:r>
              <a:endParaRPr lang="en-US" dirty="0"/>
            </a:p>
          </p:txBody>
        </p:sp>
      </p:grpSp>
      <p:pic>
        <p:nvPicPr>
          <p:cNvPr id="60" name="Picture 5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631" y="2934470"/>
            <a:ext cx="3705258" cy="34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36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200" b="1" dirty="0" smtClean="0"/>
              <a:t>Protein features </a:t>
            </a:r>
            <a:r>
              <a:rPr lang="en-GB" sz="2200" dirty="0" smtClean="0"/>
              <a:t>for SNPs predictions in HUMAN</a:t>
            </a:r>
            <a:br>
              <a:rPr lang="en-GB" sz="2200" dirty="0" smtClean="0"/>
            </a:br>
            <a:r>
              <a:rPr lang="en-GB" sz="2200" dirty="0" smtClean="0"/>
              <a:t>(</a:t>
            </a:r>
            <a:r>
              <a:rPr lang="en-GB" sz="2200" b="1" dirty="0" smtClean="0"/>
              <a:t>strong </a:t>
            </a:r>
            <a:r>
              <a:rPr lang="en-GB" sz="2200" b="1" dirty="0"/>
              <a:t>high</a:t>
            </a:r>
            <a:r>
              <a:rPr lang="en-GB" sz="2200" dirty="0"/>
              <a:t> and </a:t>
            </a:r>
            <a:r>
              <a:rPr lang="en-GB" sz="2200" b="1" dirty="0"/>
              <a:t>neutral </a:t>
            </a:r>
            <a:r>
              <a:rPr lang="en-GB" sz="2200" b="1" dirty="0" smtClean="0"/>
              <a:t>high</a:t>
            </a:r>
            <a:r>
              <a:rPr lang="en-GB" sz="2200" dirty="0" smtClean="0"/>
              <a:t>)</a:t>
            </a:r>
            <a:endParaRPr lang="en-US" sz="22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76200" y="822322"/>
            <a:ext cx="4343400" cy="5197478"/>
          </a:xfrm>
        </p:spPr>
        <p:txBody>
          <a:bodyPr>
            <a:normAutofit fontScale="92500"/>
          </a:bodyPr>
          <a:lstStyle/>
          <a:p>
            <a:endParaRPr lang="en-US" dirty="0" smtClean="0"/>
          </a:p>
          <a:p>
            <a:pPr marL="0" indent="0">
              <a:buNone/>
            </a:pPr>
            <a:r>
              <a:rPr lang="en-US" b="1" dirty="0" smtClean="0">
                <a:solidFill>
                  <a:srgbClr val="003B50"/>
                </a:solidFill>
              </a:rPr>
              <a:t>No differences:</a:t>
            </a:r>
          </a:p>
          <a:p>
            <a:endParaRPr lang="en-US" dirty="0" smtClean="0"/>
          </a:p>
          <a:p>
            <a:r>
              <a:rPr lang="en-GB" sz="2400" dirty="0" smtClean="0"/>
              <a:t>#TM </a:t>
            </a:r>
            <a:r>
              <a:rPr lang="en-GB" sz="2400" dirty="0"/>
              <a:t>helices (mostly 0)</a:t>
            </a:r>
          </a:p>
          <a:p>
            <a:r>
              <a:rPr lang="en-GB" sz="2400" dirty="0" err="1"/>
              <a:t>MetaDisorder</a:t>
            </a:r>
            <a:r>
              <a:rPr lang="en-GB" sz="2400" dirty="0"/>
              <a:t> </a:t>
            </a:r>
            <a:endParaRPr lang="en-GB" sz="2400" dirty="0" smtClean="0"/>
          </a:p>
          <a:p>
            <a:pPr marL="57150" indent="0">
              <a:buNone/>
            </a:pPr>
            <a:r>
              <a:rPr lang="en-GB" sz="2400" dirty="0" smtClean="0"/>
              <a:t>(</a:t>
            </a:r>
            <a:r>
              <a:rPr lang="en-GB" sz="2400" dirty="0"/>
              <a:t>predicted as disordered)</a:t>
            </a:r>
          </a:p>
          <a:p>
            <a:r>
              <a:rPr lang="en-GB" sz="2400" dirty="0"/>
              <a:t>coiled coil </a:t>
            </a:r>
            <a:endParaRPr lang="en-GB" sz="2400" dirty="0" smtClean="0"/>
          </a:p>
          <a:p>
            <a:pPr marL="57150" indent="0">
              <a:buNone/>
            </a:pPr>
            <a:r>
              <a:rPr lang="en-GB" sz="2400" dirty="0" smtClean="0"/>
              <a:t>(</a:t>
            </a:r>
            <a:r>
              <a:rPr lang="en-GB" sz="2400" dirty="0"/>
              <a:t>motif is present)</a:t>
            </a:r>
          </a:p>
          <a:p>
            <a:pPr lvl="1"/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3810000" y="838200"/>
            <a:ext cx="5410200" cy="5197478"/>
          </a:xfrm>
        </p:spPr>
        <p:txBody>
          <a:bodyPr>
            <a:normAutofit fontScale="92500"/>
          </a:bodyPr>
          <a:lstStyle/>
          <a:p>
            <a:endParaRPr lang="en-US" dirty="0"/>
          </a:p>
          <a:p>
            <a:pPr marL="0" indent="0">
              <a:buNone/>
            </a:pPr>
            <a:r>
              <a:rPr lang="en-US" b="1" dirty="0" smtClean="0">
                <a:solidFill>
                  <a:srgbClr val="003B50"/>
                </a:solidFill>
              </a:rPr>
              <a:t>Small differences:</a:t>
            </a:r>
          </a:p>
          <a:p>
            <a:pPr marL="0" indent="0">
              <a:buNone/>
            </a:pPr>
            <a:endParaRPr lang="en-US" dirty="0" smtClean="0"/>
          </a:p>
          <a:p>
            <a:pPr lvl="0"/>
            <a:r>
              <a:rPr lang="en-GB" sz="2400" dirty="0"/>
              <a:t>RNA binding sites</a:t>
            </a:r>
          </a:p>
          <a:p>
            <a:pPr lvl="1" hangingPunct="0"/>
            <a:r>
              <a:rPr lang="en-GB" sz="2200" b="1" dirty="0">
                <a:solidFill>
                  <a:srgbClr val="C00000"/>
                </a:solidFill>
              </a:rPr>
              <a:t>Strong</a:t>
            </a:r>
            <a:r>
              <a:rPr lang="en-GB" sz="2200" dirty="0"/>
              <a:t>: 60% with 0 binding sites (up to 25 sites)</a:t>
            </a:r>
          </a:p>
          <a:p>
            <a:pPr lvl="1" hangingPunct="0"/>
            <a:r>
              <a:rPr lang="en-GB" sz="2200" b="1" dirty="0">
                <a:solidFill>
                  <a:srgbClr val="00642D"/>
                </a:solidFill>
              </a:rPr>
              <a:t>Neutral</a:t>
            </a:r>
            <a:r>
              <a:rPr lang="en-GB" sz="2200" dirty="0"/>
              <a:t>: 90% with 0 binding sites (up to 9 sites)</a:t>
            </a:r>
          </a:p>
          <a:p>
            <a:pPr lvl="0"/>
            <a:r>
              <a:rPr lang="en-GB" sz="2400" dirty="0"/>
              <a:t> DNA binding sites</a:t>
            </a:r>
          </a:p>
          <a:p>
            <a:pPr lvl="1" hangingPunct="0"/>
            <a:r>
              <a:rPr lang="en-GB" sz="2200" b="1" dirty="0">
                <a:solidFill>
                  <a:srgbClr val="C00000"/>
                </a:solidFill>
              </a:rPr>
              <a:t>Strong</a:t>
            </a:r>
            <a:r>
              <a:rPr lang="en-GB" sz="2200" dirty="0"/>
              <a:t>: 40% with 0 binding sites </a:t>
            </a:r>
            <a:endParaRPr lang="en-GB" sz="2200" dirty="0" smtClean="0"/>
          </a:p>
          <a:p>
            <a:pPr marL="457200" lvl="1" indent="0" hangingPunc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(</a:t>
            </a:r>
            <a:r>
              <a:rPr lang="en-GB" sz="2200" dirty="0"/>
              <a:t>up to 24 sites)</a:t>
            </a:r>
          </a:p>
          <a:p>
            <a:pPr lvl="1" hangingPunct="0"/>
            <a:r>
              <a:rPr lang="en-GB" sz="2200" b="1" dirty="0">
                <a:solidFill>
                  <a:srgbClr val="00642D"/>
                </a:solidFill>
              </a:rPr>
              <a:t>Neutral</a:t>
            </a:r>
            <a:r>
              <a:rPr lang="en-GB" sz="2200" dirty="0"/>
              <a:t>: 90% with 0 binding sites </a:t>
            </a:r>
            <a:endParaRPr lang="en-GB" sz="2200" dirty="0" smtClean="0"/>
          </a:p>
          <a:p>
            <a:pPr marL="457200" lvl="1" indent="0" hangingPunc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(</a:t>
            </a:r>
            <a:r>
              <a:rPr lang="en-GB" sz="2200" dirty="0"/>
              <a:t>up to 14 sites)</a:t>
            </a:r>
            <a:endParaRPr lang="en-US" sz="2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47800" y="5867400"/>
            <a:ext cx="7239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GB" sz="2200" dirty="0" smtClean="0">
                <a:solidFill>
                  <a:srgbClr val="003B50"/>
                </a:solidFill>
              </a:rPr>
              <a:t>more </a:t>
            </a:r>
            <a:r>
              <a:rPr lang="en-GB" sz="2200" dirty="0">
                <a:solidFill>
                  <a:srgbClr val="003B50"/>
                </a:solidFill>
              </a:rPr>
              <a:t>binding </a:t>
            </a:r>
            <a:r>
              <a:rPr lang="en-GB" sz="2200" dirty="0" smtClean="0">
                <a:solidFill>
                  <a:srgbClr val="003B50"/>
                </a:solidFill>
              </a:rPr>
              <a:t> sites  for </a:t>
            </a:r>
            <a:r>
              <a:rPr lang="en-GB" sz="2200" b="1" dirty="0" smtClean="0">
                <a:solidFill>
                  <a:srgbClr val="003B50"/>
                </a:solidFill>
              </a:rPr>
              <a:t>strong</a:t>
            </a:r>
            <a:r>
              <a:rPr lang="en-GB" sz="2200" dirty="0" smtClean="0">
                <a:solidFill>
                  <a:srgbClr val="003B50"/>
                </a:solidFill>
              </a:rPr>
              <a:t> although </a:t>
            </a:r>
            <a:r>
              <a:rPr lang="en-GB" sz="2200" dirty="0">
                <a:solidFill>
                  <a:srgbClr val="003B50"/>
                </a:solidFill>
              </a:rPr>
              <a:t>“smaller </a:t>
            </a:r>
            <a:r>
              <a:rPr lang="en-GB" sz="2200" dirty="0" smtClean="0">
                <a:solidFill>
                  <a:srgbClr val="003B50"/>
                </a:solidFill>
              </a:rPr>
              <a:t>proteins”</a:t>
            </a:r>
            <a:endParaRPr lang="en-US" sz="2200" dirty="0">
              <a:solidFill>
                <a:srgbClr val="003B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82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4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43000" y="228600"/>
            <a:ext cx="6744295" cy="53954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1219200" y="5562600"/>
            <a:ext cx="8001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strong set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 - more short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proteins (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11-232 residues long)</a:t>
            </a:r>
            <a:endParaRPr lang="en-GB" sz="2200" dirty="0">
              <a:solidFill>
                <a:srgbClr val="003B50"/>
              </a:solidFill>
              <a:latin typeface="Liberation Sans" pitchFamily="18"/>
              <a:ea typeface="Droid Sans Fallback" pitchFamily="2"/>
              <a:cs typeface="Lohit Marathi" pitchFamily="2"/>
            </a:endParaRPr>
          </a:p>
          <a:p>
            <a:pPr marL="285750" lvl="0" indent="-28575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neutral set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- more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long proteins (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125-5654 residues long)</a:t>
            </a:r>
            <a:endParaRPr lang="en-GB" sz="2200" dirty="0">
              <a:solidFill>
                <a:srgbClr val="003B50"/>
              </a:solidFill>
              <a:latin typeface="Liberation Sans" pitchFamily="18"/>
              <a:ea typeface="Droid Sans Fallback" pitchFamily="2"/>
              <a:cs typeface="Lohit Marathi" pitchFamily="2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49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533400" y="-76200"/>
            <a:ext cx="7772290" cy="621769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5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590800" y="5638800"/>
            <a:ext cx="4724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strong set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-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secreted</a:t>
            </a:r>
          </a:p>
          <a:p>
            <a:pPr marL="342900" lvl="0" indent="-34290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neutral set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-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cytoplasm, nucleus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81752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914400" y="30601"/>
            <a:ext cx="7543919" cy="583679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2590800" y="5638800"/>
            <a:ext cx="5334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strong set 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- more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buried (10-40%)</a:t>
            </a:r>
          </a:p>
          <a:p>
            <a:pPr marL="342900" lvl="0" indent="-342900" hangingPunct="0">
              <a:buFont typeface="Wingdings" pitchFamily="2" charset="2"/>
              <a:buChar char="Ø"/>
            </a:pPr>
            <a:r>
              <a:rPr lang="en-GB" sz="2200" b="1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neutral set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 </a:t>
            </a:r>
            <a:r>
              <a:rPr lang="en-GB" sz="2200" dirty="0" smtClean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- less </a:t>
            </a:r>
            <a:r>
              <a:rPr lang="en-GB" sz="2200" dirty="0">
                <a:solidFill>
                  <a:srgbClr val="003B5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buried (0-25%)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220604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7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0"/>
            <a:ext cx="4381501" cy="3505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4414881" y="2514600"/>
            <a:ext cx="4576719" cy="36576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4876800" y="609600"/>
            <a:ext cx="42672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e.g. 40% of proteins from neutral set are predicted as 0% helix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0" y="3581400"/>
            <a:ext cx="48768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/>
            <a:r>
              <a:rPr lang="en-GB" sz="2200" b="1" dirty="0">
                <a:solidFill>
                  <a:srgbClr val="C00000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Strong</a:t>
            </a:r>
          </a:p>
          <a:p>
            <a:pPr marL="342900" lvl="0" indent="-342900" hangingPunct="0">
              <a:buSzPct val="45000"/>
              <a:buFont typeface="Arial" pitchFamily="34" charset="0"/>
              <a:buChar char="•"/>
            </a:pP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40% without strands</a:t>
            </a:r>
          </a:p>
          <a:p>
            <a:pPr marL="342900" lvl="0" indent="-342900" hangingPunct="0">
              <a:buSzPct val="45000"/>
              <a:buFont typeface="Arial" pitchFamily="34" charset="0"/>
              <a:buChar char="•"/>
            </a:pP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versatile </a:t>
            </a:r>
            <a:r>
              <a:rPr lang="en-GB" sz="2200" b="1" dirty="0" smtClean="0">
                <a:latin typeface="Liberation Sans" pitchFamily="18"/>
                <a:ea typeface="Droid Sans Fallback" pitchFamily="2"/>
                <a:cs typeface="Lohit Marathi" pitchFamily="2"/>
              </a:rPr>
              <a:t>structure</a:t>
            </a:r>
          </a:p>
          <a:p>
            <a:pPr lvl="0" hangingPunct="0">
              <a:buSzPct val="45000"/>
            </a:pP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 </a:t>
            </a:r>
            <a:r>
              <a:rPr lang="en-GB" sz="2200" b="1" dirty="0" smtClean="0">
                <a:latin typeface="Liberation Sans" pitchFamily="18"/>
                <a:ea typeface="Droid Sans Fallback" pitchFamily="2"/>
                <a:cs typeface="Lohit Marathi" pitchFamily="2"/>
              </a:rPr>
              <a:t>    (mix </a:t>
            </a: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of  </a:t>
            </a:r>
            <a:r>
              <a:rPr lang="en-GB" sz="2200" b="1" dirty="0" smtClean="0">
                <a:latin typeface="Liberation Sans" pitchFamily="18"/>
                <a:ea typeface="Droid Sans Fallback" pitchFamily="2"/>
                <a:cs typeface="Lohit Marathi" pitchFamily="2"/>
              </a:rPr>
              <a:t>loops</a:t>
            </a: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, helices and </a:t>
            </a:r>
            <a:r>
              <a:rPr lang="en-GB" sz="2200" b="1" dirty="0" smtClean="0">
                <a:latin typeface="Liberation Sans" pitchFamily="18"/>
                <a:ea typeface="Droid Sans Fallback" pitchFamily="2"/>
                <a:cs typeface="Lohit Marathi" pitchFamily="2"/>
              </a:rPr>
              <a:t>strands</a:t>
            </a: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)</a:t>
            </a:r>
          </a:p>
          <a:p>
            <a:pPr lvl="0" hangingPunct="0"/>
            <a:r>
              <a:rPr lang="en-GB" sz="2200" b="1" dirty="0" smtClean="0">
                <a:solidFill>
                  <a:srgbClr val="00642D"/>
                </a:solidFill>
                <a:latin typeface="Liberation Sans" pitchFamily="18"/>
                <a:ea typeface="Droid Sans Fallback" pitchFamily="2"/>
                <a:cs typeface="Lohit Marathi" pitchFamily="2"/>
              </a:rPr>
              <a:t>Neutral </a:t>
            </a:r>
            <a:r>
              <a:rPr lang="en-GB" sz="2200" dirty="0" smtClean="0">
                <a:latin typeface="Liberation Sans" pitchFamily="18"/>
                <a:ea typeface="Droid Sans Fallback" pitchFamily="2"/>
                <a:cs typeface="Lohit Marathi" pitchFamily="2"/>
              </a:rPr>
              <a:t> </a:t>
            </a:r>
            <a:endParaRPr lang="en-GB" sz="2200" dirty="0">
              <a:latin typeface="Liberation Sans" pitchFamily="18"/>
              <a:ea typeface="Droid Sans Fallback" pitchFamily="2"/>
              <a:cs typeface="Lohit Marathi" pitchFamily="2"/>
            </a:endParaRPr>
          </a:p>
          <a:p>
            <a:pPr marL="342900" lvl="0" indent="-342900" hangingPunct="0">
              <a:buSzPct val="45000"/>
              <a:buFont typeface="Arial" pitchFamily="34" charset="0"/>
              <a:buChar char="•"/>
            </a:pP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70% without strands</a:t>
            </a:r>
          </a:p>
          <a:p>
            <a:pPr marL="342900" lvl="0" indent="-342900" hangingPunct="0">
              <a:buSzPct val="45000"/>
              <a:buFont typeface="Arial" pitchFamily="34" charset="0"/>
              <a:buChar char="•"/>
            </a:pPr>
            <a:r>
              <a:rPr lang="en-GB" sz="2200" b="1" dirty="0">
                <a:latin typeface="Liberation Sans" pitchFamily="18"/>
                <a:ea typeface="Droid Sans Fallback" pitchFamily="2"/>
                <a:cs typeface="Lohit Marathi" pitchFamily="2"/>
              </a:rPr>
              <a:t>“all-or-nothing” loop and helices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25485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words for SNPs predictions</a:t>
            </a:r>
            <a:endParaRPr lang="en-US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072" y="609600"/>
            <a:ext cx="7459304" cy="29718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2574938"/>
              </p:ext>
            </p:extLst>
          </p:nvPr>
        </p:nvGraphicFramePr>
        <p:xfrm>
          <a:off x="152400" y="3581400"/>
          <a:ext cx="8839200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2819400"/>
                <a:gridCol w="2209800"/>
                <a:gridCol w="25146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3B50"/>
                          </a:solidFill>
                        </a:rPr>
                        <a:t>A. Thaliana</a:t>
                      </a:r>
                      <a:endParaRPr lang="en-US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3B50"/>
                          </a:solidFill>
                        </a:rPr>
                        <a:t>Secreted</a:t>
                      </a:r>
                    </a:p>
                    <a:p>
                      <a:r>
                        <a:rPr lang="en-US" b="0" dirty="0" smtClean="0">
                          <a:solidFill>
                            <a:srgbClr val="003B50"/>
                          </a:solidFill>
                        </a:rPr>
                        <a:t>Antimicrobial</a:t>
                      </a:r>
                    </a:p>
                    <a:p>
                      <a:r>
                        <a:rPr lang="en-US" b="0" dirty="0" smtClean="0">
                          <a:solidFill>
                            <a:srgbClr val="003B50"/>
                          </a:solidFill>
                        </a:rPr>
                        <a:t>Fungicide</a:t>
                      </a:r>
                      <a:endParaRPr lang="en-US" b="0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DNA-binding</a:t>
                      </a: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Transport</a:t>
                      </a:r>
                    </a:p>
                    <a:p>
                      <a:r>
                        <a:rPr lang="en-US" sz="1800" b="1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Zinc</a:t>
                      </a:r>
                    </a:p>
                    <a:p>
                      <a:r>
                        <a:rPr lang="en-US" sz="1800" b="1" i="0" u="none" strike="noStrike" kern="1200" baseline="0" dirty="0" err="1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Phosphoprotein</a:t>
                      </a:r>
                      <a:endParaRPr lang="en-US" b="1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Hydrolase</a:t>
                      </a: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Nucleotide-binding</a:t>
                      </a: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ATP-binding</a:t>
                      </a:r>
                      <a:endParaRPr lang="en-US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  <a:tr h="1402080">
                <a:tc>
                  <a:txBody>
                    <a:bodyPr/>
                    <a:lstStyle/>
                    <a:p>
                      <a:endParaRPr lang="en-US" b="1" dirty="0" smtClean="0">
                        <a:solidFill>
                          <a:srgbClr val="003B50"/>
                        </a:solidFill>
                      </a:endParaRPr>
                    </a:p>
                    <a:p>
                      <a:r>
                        <a:rPr lang="en-US" b="1" dirty="0" smtClean="0">
                          <a:solidFill>
                            <a:srgbClr val="003B50"/>
                          </a:solidFill>
                        </a:rPr>
                        <a:t>E.</a:t>
                      </a:r>
                      <a:r>
                        <a:rPr lang="en-US" b="1" baseline="0" dirty="0" smtClean="0">
                          <a:solidFill>
                            <a:srgbClr val="003B50"/>
                          </a:solidFill>
                        </a:rPr>
                        <a:t> Coli</a:t>
                      </a:r>
                      <a:endParaRPr lang="en-US" b="1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i="0" u="none" strike="noStrike" kern="1200" baseline="0" dirty="0" smtClean="0">
                        <a:solidFill>
                          <a:srgbClr val="003B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i="0" u="none" strike="noStrike" kern="1200" baseline="0" dirty="0" err="1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Ribonucleoprotein</a:t>
                      </a:r>
                      <a:endParaRPr lang="en-US" sz="1800" b="0" i="0" u="none" strike="noStrike" kern="1200" baseline="0" dirty="0" smtClean="0">
                        <a:solidFill>
                          <a:srgbClr val="003B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DNA-binding</a:t>
                      </a: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Toxin</a:t>
                      </a:r>
                    </a:p>
                    <a:p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Transcription</a:t>
                      </a:r>
                    </a:p>
                    <a:p>
                      <a:r>
                        <a:rPr lang="en-US" sz="1800" b="0" i="0" u="none" strike="noStrike" kern="1200" baseline="0" dirty="0" err="1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tRNA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-binding</a:t>
                      </a:r>
                      <a:endParaRPr lang="en-US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0" i="0" u="none" strike="noStrike" kern="1200" baseline="0" dirty="0" smtClean="0">
                        <a:solidFill>
                          <a:srgbClr val="003B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i="0" u="none" strike="noStrike" kern="1200" baseline="0" dirty="0" err="1" smtClean="0">
                          <a:solidFill>
                            <a:srgbClr val="003B50"/>
                          </a:solidFill>
                          <a:latin typeface="+mn-lt"/>
                          <a:ea typeface="+mn-ea"/>
                          <a:cs typeface="+mn-cs"/>
                        </a:rPr>
                        <a:t>Periplasm</a:t>
                      </a:r>
                      <a:endParaRPr lang="en-US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 smtClean="0">
                        <a:solidFill>
                          <a:srgbClr val="003B50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rgbClr val="003B50"/>
                          </a:solidFill>
                        </a:rPr>
                        <a:t>Metal-binding</a:t>
                      </a:r>
                    </a:p>
                    <a:p>
                      <a:r>
                        <a:rPr lang="en-US" dirty="0" err="1" smtClean="0">
                          <a:solidFill>
                            <a:srgbClr val="003B50"/>
                          </a:solidFill>
                        </a:rPr>
                        <a:t>Transferase</a:t>
                      </a:r>
                      <a:endParaRPr lang="en-US" dirty="0">
                        <a:solidFill>
                          <a:srgbClr val="003B50"/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58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E96B-6C08-4F20-8D12-F6F49B0E3444}" type="datetime1">
              <a:rPr lang="en-US" smtClean="0"/>
              <a:t>1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ttp://www.ncbi.nlm.nih.gov/pmc/articles/PMC1920242/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DF8A7-774D-4C23-88CB-E3458B5BD82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653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66</TotalTime>
  <Words>319</Words>
  <Application>Microsoft Office PowerPoint</Application>
  <PresentationFormat>On-screen Show (4:3)</PresentationFormat>
  <Paragraphs>103</Paragraphs>
  <Slides>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  SNAP </vt:lpstr>
      <vt:lpstr>What is SNAP?</vt:lpstr>
      <vt:lpstr>Protein features for SNPs predictions in HUMAN (strong high and neutral high)</vt:lpstr>
      <vt:lpstr>PowerPoint Presentation</vt:lpstr>
      <vt:lpstr>PowerPoint Presentation</vt:lpstr>
      <vt:lpstr>PowerPoint Presentation</vt:lpstr>
      <vt:lpstr>PowerPoint Presentation</vt:lpstr>
      <vt:lpstr>Keywords for SNPs predictions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on of signal peptides</dc:title>
  <dc:creator>Mada</dc:creator>
  <cp:lastModifiedBy>Mada</cp:lastModifiedBy>
  <cp:revision>152</cp:revision>
  <dcterms:created xsi:type="dcterms:W3CDTF">2015-05-03T21:30:12Z</dcterms:created>
  <dcterms:modified xsi:type="dcterms:W3CDTF">2015-12-10T00:36:18Z</dcterms:modified>
</cp:coreProperties>
</file>